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39D854C-3076-4249-9062-C026E3BBA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3123B75-E74F-4020-866F-A60DDC620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F516000-ACCD-47FE-9AAC-E7934C8BA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415A3D2-7F02-4056-8BB0-DE234BA68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D1B23FB-4282-4A73-8F7F-9716F3B10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4B9DF7B-AA26-4758-ACFA-2F0880D51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A877CE7-F132-4307-825D-2A1AEA77C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A4BEC3F-8CB7-4B84-A276-9883942F2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B6D7911-EF8E-42D0-B439-3202A6195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993AE7E-DBEF-491B-ACA7-A70389F8A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D91A22D-BF7B-435A-9032-EA65D16F5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280EC7B-69B0-47C2-88D2-FA18F9BC7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0881E0E6-015D-4826-8885-14C108C89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19A8EB1-606B-4676-8389-D44A12A22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A4226DE-D45D-4BD5-8210-D110BB8E9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C43C1F3-ADF1-4596-8DAB-0B0B04F7C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EE76A56-B7C9-44C8-9294-FC2939986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120F94A-558D-4BBD-86DB-DCEE7CC59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D9B04F6-1859-42E3-8815-AD4FA6608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0777199-14BA-49A3-B042-C407B04C2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E5D1CD63-2C53-4511-A263-94E900C69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E95F139-8C83-4BBE-A73E-C7E8907E9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B09F74F-CE05-4A11-BB3A-326DAA188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97D7BCC-E5CA-4478-AD5B-0F639AAD7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248AFE0-4C21-4276-82AB-07E21A6B6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F7F5CF9-50FD-4C6B-994A-09115D162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5D796C0-0F69-4A5A-AE89-1FB5DB648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30D730AE-5428-4908-9FCA-ED123A990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3448030E-9398-4B9C-AFA2-6B076620E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69646B9-8203-498B-9BDE-259432273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A235A21D-C422-459F-BB8F-DF1F255E3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714C42A-4E72-4B98-8196-2AF71402D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22F28206-6B8B-4EC3-B7B5-8BF19BFD9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F0662D1E-F070-47E1-BD08-4C4C0EEAD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BB734530-12B0-417C-A42E-5FCDA1574C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08399403-4536-459F-AA09-7F910AF96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017CB157-0758-4859-8465-1BF7C5D4F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E5C7EED7-6809-4245-B113-5A7662995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07D9F47-DC25-455B-B9B8-E9A30F2C1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FD30ABA-A204-474A-BBCB-C18D057F4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3323820B-DB16-403E-86E8-7BADFA138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42A1FA53-C74C-4200-ABE0-5727045A3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156F8816-1F5A-4780-8ED4-B3E79AFFC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E67631F-4F5E-455D-98F8-F0C5B8A15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6FEBB06-91B3-4863-94D0-B5CA5E181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4B15D23B-47DC-4F0F-8FF6-DE2358EBD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72C31E8-BDB7-4CC0-9416-2178F9BD6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BACF21A0-7490-47C8-AA22-09CE9DFD8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18C49BCA-0B5F-4B6D-AE74-10A271BBE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56504F39-2870-4360-BA29-AF806EB7C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D0632A5C-F2E7-4028-921D-9B687C5BC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B9A6C73C-32AC-4B46-B5E6-8BF7A5BA2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6D49130-DC79-4A88-AA5B-462AAE817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EF99A16F-53F8-4889-A081-6810FDAF4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50F404C5-3F79-4968-9C68-CE89A4694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5257FB5-804D-4DB8-9B1E-C2608FBB8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3A6DAC0-3675-4280-85C4-3467E10E8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C655916F-E306-49C2-93DE-50324F977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1B4BEC3F-370B-46E1-948F-E5E1CB1D9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3723B8D-15B2-4D16-BE07-BDF88D0BC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109D13C4-F478-43C0-B953-94328CBED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0255F920-A35C-49CD-9CD4-3560C57E5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4EDD6F98-E179-48B3-B341-DC64C9432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533568D-7AF9-4351-A23F-0C86A3EF5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ABF76C6-C0BD-48D8-AC09-3954525F6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1/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1</TotalTime>
  <Words>4487</Words>
  <Application>Microsoft Office PowerPoint</Application>
  <PresentationFormat>On-screen Show (16:9)</PresentationFormat>
  <Paragraphs>1751</Paragraphs>
  <Slides>10</Slides>
  <Notes>4</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3</cp:revision>
  <dcterms:created xsi:type="dcterms:W3CDTF">2024-07-05T15:31:56Z</dcterms:created>
  <dcterms:modified xsi:type="dcterms:W3CDTF">2025-08-21T08:4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